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52266AE8-F51F-40BA-A4B7-4B0D6766C13C}"/>
    <pc:docChg chg="modSld">
      <pc:chgData name="Weigel Stefan (PAR-EPS)" userId="fd3b2067-2981-4ad8-bf3a-d2e1004e4fa8" providerId="ADAL" clId="{52266AE8-F51F-40BA-A4B7-4B0D6766C13C}" dt="2024-02-28T08:02:32.303" v="25"/>
      <pc:docMkLst>
        <pc:docMk/>
      </pc:docMkLst>
      <pc:sldChg chg="modSp mod">
        <pc:chgData name="Weigel Stefan (PAR-EPS)" userId="fd3b2067-2981-4ad8-bf3a-d2e1004e4fa8" providerId="ADAL" clId="{52266AE8-F51F-40BA-A4B7-4B0D6766C13C}" dt="2024-02-28T08:02:32.303" v="25"/>
        <pc:sldMkLst>
          <pc:docMk/>
          <pc:sldMk cId="57003221" sldId="400"/>
        </pc:sldMkLst>
        <pc:spChg chg="mod">
          <ac:chgData name="Weigel Stefan (PAR-EPS)" userId="fd3b2067-2981-4ad8-bf3a-d2e1004e4fa8" providerId="ADAL" clId="{52266AE8-F51F-40BA-A4B7-4B0D6766C13C}" dt="2024-02-28T07:53:16.864" v="2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52266AE8-F51F-40BA-A4B7-4B0D6766C13C}" dt="2024-02-28T08:02:32.303" v="25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7:52:08.557" v="77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7:52:08.557" v="77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A75C2BC4-FC9A-4889-89B3-9C4662458C49}"/>
    <pc:docChg chg="modSld">
      <pc:chgData name="Weigel Stefan (PAR-EPS)" userId="fd3b2067-2981-4ad8-bf3a-d2e1004e4fa8" providerId="ADAL" clId="{A75C2BC4-FC9A-4889-89B3-9C4662458C49}" dt="2025-02-21T09:17:15.513" v="26" actId="27918"/>
      <pc:docMkLst>
        <pc:docMk/>
      </pc:docMkLst>
      <pc:sldChg chg="modSp mod">
        <pc:chgData name="Weigel Stefan (PAR-EPS)" userId="fd3b2067-2981-4ad8-bf3a-d2e1004e4fa8" providerId="ADAL" clId="{A75C2BC4-FC9A-4889-89B3-9C4662458C49}" dt="2025-02-21T09:17:15.513" v="26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A75C2BC4-FC9A-4889-89B3-9C4662458C49}" dt="2025-02-21T09:16:10.249" v="14" actId="1076"/>
          <ac:spMkLst>
            <pc:docMk/>
            <pc:sldMk cId="57003221" sldId="400"/>
            <ac:spMk id="2" creationId="{CB5B6383-6FF8-1F1E-2BE5-0AC67987A28E}"/>
          </ac:spMkLst>
        </pc:spChg>
        <pc:spChg chg="mod">
          <ac:chgData name="Weigel Stefan (PAR-EPS)" userId="fd3b2067-2981-4ad8-bf3a-d2e1004e4fa8" providerId="ADAL" clId="{A75C2BC4-FC9A-4889-89B3-9C4662458C49}" dt="2025-02-21T09:15:37.456" v="12" actId="1076"/>
          <ac:spMkLst>
            <pc:docMk/>
            <pc:sldMk cId="57003221" sldId="400"/>
            <ac:spMk id="3" creationId="{2C5B6F70-F6F0-3F73-2D51-38323BD1B047}"/>
          </ac:spMkLst>
        </pc:spChg>
        <pc:spChg chg="mod">
          <ac:chgData name="Weigel Stefan (PAR-EPS)" userId="fd3b2067-2981-4ad8-bf3a-d2e1004e4fa8" providerId="ADAL" clId="{A75C2BC4-FC9A-4889-89B3-9C4662458C49}" dt="2025-02-21T09:16:31.137" v="18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A75C2BC4-FC9A-4889-89B3-9C4662458C49}" dt="2025-02-21T09:16:22.985" v="16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Weigel Stefan (PAR-EPS)" userId="fd3b2067-2981-4ad8-bf3a-d2e1004e4fa8" providerId="ADAL" clId="{01025939-259B-45ED-A9BC-B468CABB006D}"/>
    <pc:docChg chg="modSld">
      <pc:chgData name="Weigel Stefan (PAR-EPS)" userId="fd3b2067-2981-4ad8-bf3a-d2e1004e4fa8" providerId="ADAL" clId="{01025939-259B-45ED-A9BC-B468CABB006D}" dt="2024-04-12T08:17:11.738" v="52" actId="20577"/>
      <pc:docMkLst>
        <pc:docMk/>
      </pc:docMkLst>
      <pc:sldChg chg="addSp modSp mod">
        <pc:chgData name="Weigel Stefan (PAR-EPS)" userId="fd3b2067-2981-4ad8-bf3a-d2e1004e4fa8" providerId="ADAL" clId="{01025939-259B-45ED-A9BC-B468CABB006D}" dt="2024-04-12T08:17:11.738" v="52" actId="20577"/>
        <pc:sldMkLst>
          <pc:docMk/>
          <pc:sldMk cId="57003221" sldId="400"/>
        </pc:sldMkLst>
        <pc:spChg chg="add mod">
          <ac:chgData name="Weigel Stefan (PAR-EPS)" userId="fd3b2067-2981-4ad8-bf3a-d2e1004e4fa8" providerId="ADAL" clId="{01025939-259B-45ED-A9BC-B468CABB006D}" dt="2024-04-12T08:17:05.971" v="34" actId="20577"/>
          <ac:spMkLst>
            <pc:docMk/>
            <pc:sldMk cId="57003221" sldId="400"/>
            <ac:spMk id="2" creationId="{CB5B6383-6FF8-1F1E-2BE5-0AC67987A28E}"/>
          </ac:spMkLst>
        </pc:spChg>
        <pc:spChg chg="add mod">
          <ac:chgData name="Weigel Stefan (PAR-EPS)" userId="fd3b2067-2981-4ad8-bf3a-d2e1004e4fa8" providerId="ADAL" clId="{01025939-259B-45ED-A9BC-B468CABB006D}" dt="2024-04-12T08:17:11.738" v="52" actId="20577"/>
          <ac:spMkLst>
            <pc:docMk/>
            <pc:sldMk cId="57003221" sldId="400"/>
            <ac:spMk id="3" creationId="{2C5B6F70-F6F0-3F73-2D51-38323BD1B047}"/>
          </ac:spMkLst>
        </pc:spChg>
        <pc:spChg chg="mod">
          <ac:chgData name="Weigel Stefan (PAR-EPS)" userId="fd3b2067-2981-4ad8-bf3a-d2e1004e4fa8" providerId="ADAL" clId="{01025939-259B-45ED-A9BC-B468CABB006D}" dt="2024-04-08T13:54:41.423" v="7" actId="1035"/>
          <ac:spMkLst>
            <pc:docMk/>
            <pc:sldMk cId="57003221" sldId="400"/>
            <ac:spMk id="5" creationId="{92A937B8-76F1-40F4-B147-42962D317536}"/>
          </ac:spMkLst>
        </pc:spChg>
        <pc:graphicFrameChg chg="mod">
          <ac:chgData name="Weigel Stefan (PAR-EPS)" userId="fd3b2067-2981-4ad8-bf3a-d2e1004e4fa8" providerId="ADAL" clId="{01025939-259B-45ED-A9BC-B468CABB006D}" dt="2024-04-08T13:58:42.880" v="17" actId="207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01025939-259B-45ED-A9BC-B468CABB006D}" dt="2024-04-08T13:58:39.753" v="16" actId="207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Traffic revenue</c:v>
                </c:pt>
                <c:pt idx="1">
                  <c:v>6% – Rental income from real estate</c:v>
                </c:pt>
                <c:pt idx="2">
                  <c:v>12% – Other income</c:v>
                </c:pt>
                <c:pt idx="3">
                  <c:v>13% – Own work capitalised</c:v>
                </c:pt>
                <c:pt idx="4">
                  <c:v>27% – Public-sector funding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814.9626766727297</c:v>
                </c:pt>
                <c:pt idx="1">
                  <c:v>718.247925022902</c:v>
                </c:pt>
                <c:pt idx="2">
                  <c:v>1323.2240477186299</c:v>
                </c:pt>
                <c:pt idx="3">
                  <c:v>1493.0376321199999</c:v>
                </c:pt>
                <c:pt idx="4">
                  <c:v>3056.1754474337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8485776396404879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4% – Personnel expenses</c:v>
                </c:pt>
                <c:pt idx="1">
                  <c:v>8% – Cost of materials</c:v>
                </c:pt>
                <c:pt idx="2">
                  <c:v>11% – Third-party operating and maintenance services</c:v>
                </c:pt>
                <c:pt idx="3">
                  <c:v>14% – Other expenses</c:v>
                </c:pt>
                <c:pt idx="4">
                  <c:v>23% – Depreciatio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824.0756096973</c:v>
                </c:pt>
                <c:pt idx="1">
                  <c:v>-932.77300269094701</c:v>
                </c:pt>
                <c:pt idx="2">
                  <c:v>-1164.82256878204</c:v>
                </c:pt>
                <c:pt idx="3">
                  <c:v>-1510.67690092156</c:v>
                </c:pt>
                <c:pt idx="4">
                  <c:v>-2579.905738946749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8663277886016072E-2"/>
          <c:y val="0.78130886993356086"/>
          <c:w val="0.86080366081758064"/>
          <c:h val="0.18043260965604743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586096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363371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perating Income and Operating Expenses in 2024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8979921" y="6231421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B5B6383-6FF8-1F1E-2BE5-0AC67987A28E}"/>
              </a:ext>
            </a:extLst>
          </p:cNvPr>
          <p:cNvSpPr txBox="1"/>
          <p:nvPr/>
        </p:nvSpPr>
        <p:spPr>
          <a:xfrm>
            <a:off x="1900803" y="154449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perating Incom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C5B6F70-F6F0-3F73-2D51-38323BD1B047}"/>
              </a:ext>
            </a:extLst>
          </p:cNvPr>
          <p:cNvSpPr txBox="1"/>
          <p:nvPr/>
        </p:nvSpPr>
        <p:spPr>
          <a:xfrm>
            <a:off x="6224691" y="15385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perating </a:t>
            </a:r>
            <a:r>
              <a:rPr kumimoji="0" lang="de-CH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xpense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96e82a89-ba48-4728-b345-cf206dbec8f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0634BE3-2DC8-4053-B977-D6B768633A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